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  <p:sldId id="2333" r:id="rId3"/>
    <p:sldId id="2334" r:id="rId4"/>
  </p:sldIdLst>
  <p:sldSz cx="12192000" cy="6858000"/>
  <p:notesSz cx="6858000" cy="9144000"/>
  <p:custDataLst>
    <p:tags r:id="rId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96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FD8-47E6-9F4B-D0CC3CFAD1C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Liber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Plzeňský kraj</c:v>
                </c:pt>
                <c:pt idx="8">
                  <c:v>Olomoucký kraj</c:v>
                </c:pt>
                <c:pt idx="9">
                  <c:v>Moravskoslezský kraj</c:v>
                </c:pt>
                <c:pt idx="10">
                  <c:v>ČR</c:v>
                </c:pt>
                <c:pt idx="11">
                  <c:v>Ústecký kraj</c:v>
                </c:pt>
                <c:pt idx="12">
                  <c:v>Karlovars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3535353535300001</c:v>
                </c:pt>
                <c:pt idx="1">
                  <c:v>0.51181102362200004</c:v>
                </c:pt>
                <c:pt idx="2">
                  <c:v>0.51020408163200004</c:v>
                </c:pt>
                <c:pt idx="3">
                  <c:v>0.5</c:v>
                </c:pt>
                <c:pt idx="4">
                  <c:v>0.46</c:v>
                </c:pt>
                <c:pt idx="5">
                  <c:v>0.42399999999999999</c:v>
                </c:pt>
                <c:pt idx="6">
                  <c:v>0.41775456918999998</c:v>
                </c:pt>
                <c:pt idx="7">
                  <c:v>0.356164383561</c:v>
                </c:pt>
                <c:pt idx="8">
                  <c:v>0.35</c:v>
                </c:pt>
                <c:pt idx="9">
                  <c:v>0.349173553719</c:v>
                </c:pt>
                <c:pt idx="10">
                  <c:v>0.34463926415599999</c:v>
                </c:pt>
                <c:pt idx="11">
                  <c:v>0.32400000000000001</c:v>
                </c:pt>
                <c:pt idx="12">
                  <c:v>0.30120481927699999</c:v>
                </c:pt>
                <c:pt idx="13">
                  <c:v>0.29646017699100002</c:v>
                </c:pt>
                <c:pt idx="14">
                  <c:v>0.163892445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Jihomoravský kraj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Olomoucký kraj</c:v>
                </c:pt>
                <c:pt idx="8">
                  <c:v>Karlovarský kraj</c:v>
                </c:pt>
                <c:pt idx="9">
                  <c:v>ČR</c:v>
                </c:pt>
                <c:pt idx="10">
                  <c:v>Ústecký kraj</c:v>
                </c:pt>
                <c:pt idx="11">
                  <c:v>Moravskoslezský kraj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648648648600001</c:v>
                </c:pt>
                <c:pt idx="1">
                  <c:v>0.4375</c:v>
                </c:pt>
                <c:pt idx="2">
                  <c:v>0.40322580645099998</c:v>
                </c:pt>
                <c:pt idx="3">
                  <c:v>0.39166666666599997</c:v>
                </c:pt>
                <c:pt idx="4">
                  <c:v>0.36868686868599998</c:v>
                </c:pt>
                <c:pt idx="5">
                  <c:v>0.368421052631</c:v>
                </c:pt>
                <c:pt idx="6">
                  <c:v>0.34177215189799998</c:v>
                </c:pt>
                <c:pt idx="7">
                  <c:v>0.28387096774100001</c:v>
                </c:pt>
                <c:pt idx="8">
                  <c:v>0.27906976744099998</c:v>
                </c:pt>
                <c:pt idx="9">
                  <c:v>0.26342197691899999</c:v>
                </c:pt>
                <c:pt idx="10">
                  <c:v>0.26126126126100002</c:v>
                </c:pt>
                <c:pt idx="11">
                  <c:v>0.258899676375</c:v>
                </c:pt>
                <c:pt idx="12">
                  <c:v>0.23622047244</c:v>
                </c:pt>
                <c:pt idx="13">
                  <c:v>0.17599999999999999</c:v>
                </c:pt>
                <c:pt idx="14">
                  <c:v>0.108742004264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9D-4120-8BA1-3A4A834B8253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Plzeňský kraj</c:v>
                </c:pt>
                <c:pt idx="6">
                  <c:v>Zlín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Ústecký kraj</c:v>
                </c:pt>
                <c:pt idx="11">
                  <c:v>Moravskoslez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0216154721199998</c:v>
                </c:pt>
                <c:pt idx="1">
                  <c:v>0.39015606242400003</c:v>
                </c:pt>
                <c:pt idx="2">
                  <c:v>0.32680538555600003</c:v>
                </c:pt>
                <c:pt idx="3">
                  <c:v>0.30818826563500001</c:v>
                </c:pt>
                <c:pt idx="4">
                  <c:v>0.30099228224899999</c:v>
                </c:pt>
                <c:pt idx="5">
                  <c:v>0.29797979797899998</c:v>
                </c:pt>
                <c:pt idx="6">
                  <c:v>0.264508928571</c:v>
                </c:pt>
                <c:pt idx="7">
                  <c:v>0.256512851737</c:v>
                </c:pt>
                <c:pt idx="8">
                  <c:v>0.25275157232700002</c:v>
                </c:pt>
                <c:pt idx="9">
                  <c:v>0.24880382775099999</c:v>
                </c:pt>
                <c:pt idx="10">
                  <c:v>0.23959044368599999</c:v>
                </c:pt>
                <c:pt idx="11">
                  <c:v>0.22344192634500001</c:v>
                </c:pt>
                <c:pt idx="12">
                  <c:v>0.20356768100700001</c:v>
                </c:pt>
                <c:pt idx="13">
                  <c:v>0.18297101449200001</c:v>
                </c:pt>
                <c:pt idx="14">
                  <c:v>0.1094783247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1612938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050867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756359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47</Words>
  <Application>Microsoft Office PowerPoint</Application>
  <PresentationFormat>Širokoúhlá obrazovka</PresentationFormat>
  <Paragraphs>6</Paragraphs>
  <Slides>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echová Anna Mgr.</cp:lastModifiedBy>
  <cp:revision>11</cp:revision>
  <dcterms:created xsi:type="dcterms:W3CDTF">2021-10-29T17:14:18Z</dcterms:created>
  <dcterms:modified xsi:type="dcterms:W3CDTF">2021-11-07T17:51:28Z</dcterms:modified>
</cp:coreProperties>
</file>